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5711150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43" d="100"/>
          <a:sy n="43" d="100"/>
        </p:scale>
        <p:origin x="141" y="156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A5A1BD-02DA-FE63-C385-ACABEEF535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B6610E-2CD5-6CCF-B73F-AD6020B0A5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5A2EDF-5687-418D-B2B8-9DCCDAB6B6F1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47F929-801A-3BE1-9B72-E45AED8053A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4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48D29F-5039-4D9C-25FD-349F64ECA3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1CC9DF-FC99-4631-9F0D-042B47ECFA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42786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0CA7F8-C59E-47F4-AD1A-FA6E4BB649C9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2355850" y="1143000"/>
            <a:ext cx="11569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40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5DB6A-5A07-401E-BFF6-C93BE198128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78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B5DB6A-5A07-401E-BFF6-C93BE198128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3029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758" y="75600"/>
            <a:ext cx="24939195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756" y="6605844"/>
            <a:ext cx="7844938" cy="126000"/>
          </a:xfrm>
        </p:spPr>
        <p:txBody>
          <a:bodyPr/>
          <a:lstStyle/>
          <a:p>
            <a:fld id="{057DB4EE-C029-4C48-9D12-8D16BDA5EB20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967326" y="6605844"/>
            <a:ext cx="7289007" cy="126000"/>
          </a:xfrm>
        </p:spPr>
        <p:txBody>
          <a:bodyPr/>
          <a:lstStyle/>
          <a:p>
            <a:r>
              <a:rPr lang="de-DE"/>
              <a:t>PowerPoint-1067×40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4622086" y="6590168"/>
            <a:ext cx="736866" cy="151200"/>
          </a:xfrm>
        </p:spPr>
        <p:txBody>
          <a:bodyPr/>
          <a:lstStyle/>
          <a:p>
            <a:fld id="{DA60981D-A854-44F4-BFF8-3458F991F13E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9757" y="914400"/>
            <a:ext cx="20994065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2666082784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75BC7-866A-74AD-2744-5F24B4AA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343BA1-FE9C-029A-555E-54A721E3A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7DB4EE-C029-4C48-9D12-8D16BDA5EB20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996822-D27A-F856-D387-F8F867BB9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4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D2DADF-8EE1-1601-20D6-F680221FD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60981D-A854-44F4-BFF8-3458F991F13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82645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419756" y="6605844"/>
            <a:ext cx="7844938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057DB4EE-C029-4C48-9D12-8D16BDA5EB20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6967326" y="6605844"/>
            <a:ext cx="7289007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40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9758" y="75600"/>
            <a:ext cx="24939195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419757" y="914400"/>
            <a:ext cx="20994065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24622086" y="6590168"/>
            <a:ext cx="736866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A60981D-A854-44F4-BFF8-3458F991F13E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173535" y="6165304"/>
            <a:ext cx="12681066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279469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1BF79-0E06-87B6-430E-CBDD940E5D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5510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5:28Z</dcterms:created>
  <dcterms:modified xsi:type="dcterms:W3CDTF">2025-09-01T07:47:36Z</dcterms:modified>
</cp:coreProperties>
</file>